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sldIdLst>
    <p:sldId id="256" r:id="rId2"/>
  </p:sldIdLst>
  <p:sldSz cx="16459200" cy="21945600"/>
  <p:notesSz cx="6858000" cy="9144000"/>
  <p:defaultTextStyle>
    <a:defPPr>
      <a:defRPr lang="en-US"/>
    </a:defPPr>
    <a:lvl1pPr marL="0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1pPr>
    <a:lvl2pPr marL="984717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2pPr>
    <a:lvl3pPr marL="1969435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3pPr>
    <a:lvl4pPr marL="2954152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4pPr>
    <a:lvl5pPr marL="3938869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5pPr>
    <a:lvl6pPr marL="4923587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6pPr>
    <a:lvl7pPr marL="5908304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7pPr>
    <a:lvl8pPr marL="6893022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8pPr>
    <a:lvl9pPr marL="7877739" algn="l" defTabSz="1969435" rtl="0" eaLnBrk="1" latinLnBrk="0" hangingPunct="1">
      <a:defRPr sz="387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2759" userDrawn="1">
          <p15:clr>
            <a:srgbClr val="A4A3A4"/>
          </p15:clr>
        </p15:guide>
        <p15:guide id="2" orient="horz" pos="12984" userDrawn="1">
          <p15:clr>
            <a:srgbClr val="A4A3A4"/>
          </p15:clr>
        </p15:guide>
        <p15:guide id="3" orient="horz" pos="1176" userDrawn="1">
          <p15:clr>
            <a:srgbClr val="A4A3A4"/>
          </p15:clr>
        </p15:guide>
        <p15:guide id="4" orient="horz" pos="3148" userDrawn="1">
          <p15:clr>
            <a:srgbClr val="A4A3A4"/>
          </p15:clr>
        </p15:guide>
        <p15:guide id="5" orient="horz" pos="3255" userDrawn="1">
          <p15:clr>
            <a:srgbClr val="A4A3A4"/>
          </p15:clr>
        </p15:guide>
        <p15:guide id="6" orient="horz" pos="11740" userDrawn="1">
          <p15:clr>
            <a:srgbClr val="A4A3A4"/>
          </p15:clr>
        </p15:guide>
        <p15:guide id="7" pos="597" userDrawn="1">
          <p15:clr>
            <a:srgbClr val="A4A3A4"/>
          </p15:clr>
        </p15:guide>
        <p15:guide id="8" pos="3253" userDrawn="1">
          <p15:clr>
            <a:srgbClr val="A4A3A4"/>
          </p15:clr>
        </p15:guide>
        <p15:guide id="9" pos="4991" userDrawn="1">
          <p15:clr>
            <a:srgbClr val="A4A3A4"/>
          </p15:clr>
        </p15:guide>
        <p15:guide id="10" pos="541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  <a:srgbClr val="FFFFFF"/>
    <a:srgbClr val="0070CF"/>
    <a:srgbClr val="002B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20017" autoAdjust="0"/>
    <p:restoredTop sz="94660"/>
  </p:normalViewPr>
  <p:slideViewPr>
    <p:cSldViewPr snapToGrid="0" showGuides="1">
      <p:cViewPr varScale="1">
        <p:scale>
          <a:sx n="35" d="100"/>
          <a:sy n="35" d="100"/>
        </p:scale>
        <p:origin x="-3822" y="-90"/>
      </p:cViewPr>
      <p:guideLst>
        <p:guide orient="horz" pos="12759"/>
        <p:guide orient="horz" pos="12984"/>
        <p:guide orient="horz" pos="1176"/>
        <p:guide orient="horz" pos="3148"/>
        <p:guide orient="horz" pos="3255"/>
        <p:guide orient="horz" pos="11740"/>
        <p:guide pos="597"/>
        <p:guide pos="3253"/>
        <p:guide pos="4991"/>
        <p:guide pos="541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2860" y="5084"/>
          <a:ext cx="2857" cy="5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860" y="5084"/>
                        <a:ext cx="2857" cy="5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1888" y="1168400"/>
            <a:ext cx="14195425" cy="42418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2860" y="5084"/>
          <a:ext cx="2857" cy="50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860" y="5084"/>
                        <a:ext cx="2857" cy="507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2840019" rtl="0" eaLnBrk="1" latinLnBrk="0" hangingPunct="1">
        <a:lnSpc>
          <a:spcPct val="85000"/>
        </a:lnSpc>
        <a:spcBef>
          <a:spcPct val="0"/>
        </a:spcBef>
        <a:buNone/>
        <a:defRPr sz="12424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710006" indent="-710006" algn="l" defTabSz="2840019" rtl="0" eaLnBrk="1" latinLnBrk="0" hangingPunct="1">
        <a:spcBef>
          <a:spcPts val="1863"/>
        </a:spcBef>
        <a:spcAft>
          <a:spcPts val="1552"/>
        </a:spcAft>
        <a:buClr>
          <a:schemeClr val="accent1"/>
        </a:buClr>
        <a:buSzPct val="115000"/>
        <a:buFont typeface="Arial" pitchFamily="34" charset="0"/>
        <a:buChar char="•"/>
        <a:defRPr sz="7454" kern="1200">
          <a:solidFill>
            <a:schemeClr val="accent6"/>
          </a:solidFill>
          <a:latin typeface="+mn-lt"/>
          <a:ea typeface="+mn-ea"/>
          <a:cs typeface="+mn-cs"/>
        </a:defRPr>
      </a:lvl1pPr>
      <a:lvl2pPr marL="1420010" indent="-527575" algn="l" defTabSz="2840019" rtl="0" eaLnBrk="1" latinLnBrk="0" hangingPunct="1">
        <a:spcBef>
          <a:spcPts val="1863"/>
        </a:spcBef>
        <a:spcAft>
          <a:spcPts val="1552"/>
        </a:spcAft>
        <a:buClr>
          <a:schemeClr val="accent1"/>
        </a:buClr>
        <a:buSzPct val="85000"/>
        <a:buFont typeface="Wingdings" pitchFamily="2" charset="2"/>
        <a:buChar char="§"/>
        <a:defRPr sz="621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312449" indent="-710006" algn="l" defTabSz="2840019" rtl="0" eaLnBrk="1" latinLnBrk="0" hangingPunct="1">
        <a:spcBef>
          <a:spcPts val="1863"/>
        </a:spcBef>
        <a:spcAft>
          <a:spcPts val="1552"/>
        </a:spcAft>
        <a:buClr>
          <a:schemeClr val="accent1"/>
        </a:buClr>
        <a:buFont typeface="Arial" pitchFamily="34" charset="0"/>
        <a:buChar char="−"/>
        <a:tabLst/>
        <a:defRPr sz="5590" kern="1200">
          <a:solidFill>
            <a:schemeClr val="accent6"/>
          </a:solidFill>
          <a:latin typeface="+mn-lt"/>
          <a:ea typeface="+mn-ea"/>
          <a:cs typeface="+mn-cs"/>
        </a:defRPr>
      </a:lvl3pPr>
      <a:lvl4pPr marL="2840019" indent="-532504" algn="l" defTabSz="2840019" rtl="0" eaLnBrk="1" latinLnBrk="0" hangingPunct="1">
        <a:spcBef>
          <a:spcPts val="1863"/>
        </a:spcBef>
        <a:spcAft>
          <a:spcPts val="1552"/>
        </a:spcAft>
        <a:buClr>
          <a:schemeClr val="accent1"/>
        </a:buClr>
        <a:buFont typeface="Arial" pitchFamily="34" charset="0"/>
        <a:buChar char="-"/>
        <a:defRPr sz="4970" kern="1200">
          <a:solidFill>
            <a:schemeClr val="accent6"/>
          </a:solidFill>
          <a:latin typeface="+mn-lt"/>
          <a:ea typeface="+mn-ea"/>
          <a:cs typeface="+mn-cs"/>
        </a:defRPr>
      </a:lvl4pPr>
      <a:lvl5pPr marL="3732458" indent="-710006" algn="l" defTabSz="2840019" rtl="0" eaLnBrk="1" latinLnBrk="0" hangingPunct="1">
        <a:spcBef>
          <a:spcPts val="1863"/>
        </a:spcBef>
        <a:spcAft>
          <a:spcPts val="1552"/>
        </a:spcAft>
        <a:buClr>
          <a:schemeClr val="accent1"/>
        </a:buClr>
        <a:buFont typeface="Wingdings" pitchFamily="2" charset="2"/>
        <a:buChar char="§"/>
        <a:defRPr sz="4970" kern="1200">
          <a:solidFill>
            <a:schemeClr val="accent6"/>
          </a:solidFill>
          <a:latin typeface="+mn-lt"/>
          <a:ea typeface="+mn-ea"/>
          <a:cs typeface="+mn-cs"/>
        </a:defRPr>
      </a:lvl5pPr>
      <a:lvl6pPr marL="7810056" indent="-710006" algn="l" defTabSz="2840019" rtl="0" eaLnBrk="1" latinLnBrk="0" hangingPunct="1">
        <a:spcBef>
          <a:spcPct val="20000"/>
        </a:spcBef>
        <a:buFont typeface="Arial" pitchFamily="34" charset="0"/>
        <a:buChar char="•"/>
        <a:defRPr sz="6211" kern="1200">
          <a:solidFill>
            <a:schemeClr val="tx1"/>
          </a:solidFill>
          <a:latin typeface="+mn-lt"/>
          <a:ea typeface="+mn-ea"/>
          <a:cs typeface="+mn-cs"/>
        </a:defRPr>
      </a:lvl6pPr>
      <a:lvl7pPr marL="9230066" indent="-710006" algn="l" defTabSz="2840019" rtl="0" eaLnBrk="1" latinLnBrk="0" hangingPunct="1">
        <a:spcBef>
          <a:spcPct val="20000"/>
        </a:spcBef>
        <a:buFont typeface="Arial" pitchFamily="34" charset="0"/>
        <a:buChar char="•"/>
        <a:defRPr sz="6211" kern="1200">
          <a:solidFill>
            <a:schemeClr val="tx1"/>
          </a:solidFill>
          <a:latin typeface="+mn-lt"/>
          <a:ea typeface="+mn-ea"/>
          <a:cs typeface="+mn-cs"/>
        </a:defRPr>
      </a:lvl7pPr>
      <a:lvl8pPr marL="10650075" indent="-710006" algn="l" defTabSz="2840019" rtl="0" eaLnBrk="1" latinLnBrk="0" hangingPunct="1">
        <a:spcBef>
          <a:spcPct val="20000"/>
        </a:spcBef>
        <a:buFont typeface="Arial" pitchFamily="34" charset="0"/>
        <a:buChar char="•"/>
        <a:defRPr sz="6211" kern="1200">
          <a:solidFill>
            <a:schemeClr val="tx1"/>
          </a:solidFill>
          <a:latin typeface="+mn-lt"/>
          <a:ea typeface="+mn-ea"/>
          <a:cs typeface="+mn-cs"/>
        </a:defRPr>
      </a:lvl8pPr>
      <a:lvl9pPr marL="12070087" indent="-710006" algn="l" defTabSz="2840019" rtl="0" eaLnBrk="1" latinLnBrk="0" hangingPunct="1">
        <a:spcBef>
          <a:spcPct val="20000"/>
        </a:spcBef>
        <a:buFont typeface="Arial" pitchFamily="34" charset="0"/>
        <a:buChar char="•"/>
        <a:defRPr sz="621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1pPr>
      <a:lvl2pPr marL="1420010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2pPr>
      <a:lvl3pPr marL="2840019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3pPr>
      <a:lvl4pPr marL="4260031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4pPr>
      <a:lvl5pPr marL="5680041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5pPr>
      <a:lvl6pPr marL="7100050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6pPr>
      <a:lvl7pPr marL="8520060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7pPr>
      <a:lvl8pPr marL="9940072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8pPr>
      <a:lvl9pPr marL="11360081" algn="l" defTabSz="2840019" rtl="0" eaLnBrk="1" latinLnBrk="0" hangingPunct="1">
        <a:defRPr sz="559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>
              <a:lnSpc>
                <a:spcPct val="90000"/>
              </a:lnSpc>
            </a:pPr>
            <a:r>
              <a:rPr lang="en-US" sz="9600" dirty="0">
                <a:solidFill>
                  <a:schemeClr val="bg1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NATIONAL</a:t>
            </a:r>
            <a:br>
              <a:rPr lang="en-US" sz="9600" dirty="0">
                <a:solidFill>
                  <a:schemeClr val="bg1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</a:br>
            <a:r>
              <a:rPr lang="en-US" sz="9600" dirty="0">
                <a:solidFill>
                  <a:schemeClr val="bg1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LEAD POISONING</a:t>
            </a:r>
            <a:br>
              <a:rPr lang="en-US" sz="9600" dirty="0">
                <a:solidFill>
                  <a:schemeClr val="bg1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</a:br>
            <a:r>
              <a:rPr lang="en-US" sz="9600" dirty="0">
                <a:solidFill>
                  <a:schemeClr val="bg1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PREVENTION WEEK</a:t>
            </a:r>
            <a:r>
              <a:rPr lang="en-US" sz="9600" dirty="0">
                <a:solidFill>
                  <a:srgbClr val="002B73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/>
            </a:r>
            <a:br>
              <a:rPr lang="en-US" sz="9600" dirty="0">
                <a:solidFill>
                  <a:srgbClr val="002B73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</a:br>
            <a:endParaRPr lang="en-US" dirty="0"/>
          </a:p>
        </p:txBody>
      </p:sp>
      <p:pic>
        <p:nvPicPr>
          <p:cNvPr id="32" name="Picture 31" descr="October 25-31, 2015" title="National Lead Poisoning Prevention Week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8" t="1334" r="1820" b="742"/>
          <a:stretch/>
        </p:blipFill>
        <p:spPr>
          <a:xfrm>
            <a:off x="228600" y="261257"/>
            <a:ext cx="16034657" cy="21521058"/>
          </a:xfrm>
          <a:prstGeom prst="rect">
            <a:avLst/>
          </a:prstGeom>
        </p:spPr>
      </p:pic>
      <p:sp>
        <p:nvSpPr>
          <p:cNvPr id="21" name="TextBox 20"/>
          <p:cNvSpPr txBox="1"/>
          <p:nvPr/>
        </p:nvSpPr>
        <p:spPr>
          <a:xfrm>
            <a:off x="5164138" y="1417495"/>
            <a:ext cx="10089172" cy="382258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9200" b="1" dirty="0" smtClean="0">
                <a:solidFill>
                  <a:srgbClr val="002B73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NATIONAL</a:t>
            </a:r>
          </a:p>
          <a:p>
            <a:pPr>
              <a:lnSpc>
                <a:spcPct val="90000"/>
              </a:lnSpc>
            </a:pPr>
            <a:r>
              <a:rPr lang="en-US" sz="9200" b="1" dirty="0" smtClean="0">
                <a:solidFill>
                  <a:srgbClr val="002B73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LEAD POISONING</a:t>
            </a:r>
          </a:p>
          <a:p>
            <a:pPr>
              <a:lnSpc>
                <a:spcPct val="90000"/>
              </a:lnSpc>
            </a:pPr>
            <a:r>
              <a:rPr lang="en-US" sz="9200" b="1" dirty="0" smtClean="0">
                <a:solidFill>
                  <a:srgbClr val="002B73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PREVENTION WEEK</a:t>
            </a:r>
            <a:endParaRPr lang="en-US" sz="9200" b="1" dirty="0">
              <a:solidFill>
                <a:srgbClr val="002B73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5164138" y="5774505"/>
            <a:ext cx="8843190" cy="93564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7600" dirty="0" smtClean="0">
                <a:solidFill>
                  <a:srgbClr val="0070CF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OCTOBER 25-31, 2015</a:t>
            </a:r>
            <a:endParaRPr lang="en-US" sz="7600" dirty="0">
              <a:solidFill>
                <a:srgbClr val="0070CF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2076005" y="8832027"/>
            <a:ext cx="8000716" cy="8371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6800" dirty="0" smtClean="0">
                <a:solidFill>
                  <a:srgbClr val="FFFFFF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Get Your Home Tested</a:t>
            </a:r>
            <a:endParaRPr lang="en-US" sz="6800" dirty="0">
              <a:solidFill>
                <a:srgbClr val="FFFFFF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076005" y="10820029"/>
            <a:ext cx="7678512" cy="8371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6800" dirty="0" smtClean="0">
                <a:solidFill>
                  <a:srgbClr val="FFFFFF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Get Your Child Tested</a:t>
            </a:r>
            <a:endParaRPr lang="en-US" sz="6800" dirty="0">
              <a:solidFill>
                <a:srgbClr val="FFFFFF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2076005" y="12892394"/>
            <a:ext cx="4713342" cy="83715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6800" dirty="0" smtClean="0">
                <a:solidFill>
                  <a:srgbClr val="FFFFFF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Get the Facts</a:t>
            </a:r>
            <a:endParaRPr lang="en-US" sz="6800" dirty="0">
              <a:solidFill>
                <a:srgbClr val="FFFFFF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5164138" y="15435576"/>
            <a:ext cx="8980022" cy="89870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7300" dirty="0" smtClean="0">
                <a:solidFill>
                  <a:srgbClr val="000000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1-800-424-LEAD (5323)</a:t>
            </a:r>
            <a:endParaRPr lang="en-US" sz="7300" dirty="0">
              <a:solidFill>
                <a:srgbClr val="000000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526349" y="20416645"/>
            <a:ext cx="2511393" cy="2954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b="1" dirty="0" smtClean="0">
                <a:solidFill>
                  <a:srgbClr val="000000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cdc.gov/</a:t>
            </a:r>
            <a:r>
              <a:rPr lang="en-US" sz="2400" b="1" dirty="0" err="1" smtClean="0">
                <a:solidFill>
                  <a:srgbClr val="000000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nceh</a:t>
            </a:r>
            <a:r>
              <a:rPr lang="en-US" sz="2400" b="1" dirty="0" smtClean="0">
                <a:solidFill>
                  <a:srgbClr val="000000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/lead</a:t>
            </a:r>
            <a:endParaRPr lang="en-US" sz="2400" b="1" dirty="0">
              <a:solidFill>
                <a:srgbClr val="000000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9823483" y="20418198"/>
            <a:ext cx="1833131" cy="2954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b="1" dirty="0">
                <a:solidFill>
                  <a:srgbClr val="000000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h</a:t>
            </a:r>
            <a:r>
              <a:rPr lang="en-US" sz="2400" b="1" dirty="0" smtClean="0">
                <a:solidFill>
                  <a:srgbClr val="000000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ud.gov/lead</a:t>
            </a:r>
            <a:endParaRPr lang="en-US" sz="2400" b="1" dirty="0">
              <a:solidFill>
                <a:srgbClr val="000000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13595383" y="20418198"/>
            <a:ext cx="1800621" cy="29546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2400" b="1" dirty="0" smtClean="0">
                <a:solidFill>
                  <a:srgbClr val="000000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epa.gov/lead</a:t>
            </a:r>
            <a:endParaRPr lang="en-US" sz="2400" b="1" dirty="0">
              <a:solidFill>
                <a:srgbClr val="000000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947738" y="19313961"/>
            <a:ext cx="2778774" cy="105259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en-US" sz="3600" dirty="0" smtClean="0">
                <a:solidFill>
                  <a:srgbClr val="FFFFFF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#LPPW2015</a:t>
            </a:r>
          </a:p>
          <a:p>
            <a:pPr>
              <a:lnSpc>
                <a:spcPct val="95000"/>
              </a:lnSpc>
            </a:pPr>
            <a:r>
              <a:rPr lang="en-US" sz="3600" dirty="0" smtClean="0">
                <a:solidFill>
                  <a:srgbClr val="FFFFFF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#</a:t>
            </a:r>
            <a:r>
              <a:rPr lang="en-US" sz="3600" dirty="0" err="1" smtClean="0">
                <a:solidFill>
                  <a:srgbClr val="FFFFFF"/>
                </a:solidFill>
                <a:latin typeface="Myriad Pro" panose="020B0503030403020204" pitchFamily="34" charset="0"/>
                <a:cs typeface="Miriam" panose="020B0502050101010101" pitchFamily="34" charset="-79"/>
              </a:rPr>
              <a:t>LeadFreeKids</a:t>
            </a:r>
            <a:endParaRPr lang="en-US" sz="3600" dirty="0">
              <a:solidFill>
                <a:srgbClr val="FFFFFF"/>
              </a:solidFill>
              <a:latin typeface="Myriad Pro" panose="020B0503030403020204" pitchFamily="34" charset="0"/>
              <a:cs typeface="Miriam" panose="020B0502050101010101" pitchFamily="34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587198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tandardBattell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StandardBattelle" id="{AE2056F7-B6C0-4C8F-90F5-50478C307ABD}" vid="{8EB7F80C-C7E3-4A75-8866-E521591FEB83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37</TotalTime>
  <Words>32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3" baseType="lpstr">
      <vt:lpstr>StandardBattelle</vt:lpstr>
      <vt:lpstr>think-cell Slide</vt:lpstr>
      <vt:lpstr>NATIONAL LEAD POISONING PREVENTION WEEK </vt:lpstr>
    </vt:vector>
  </TitlesOfParts>
  <Company>Battell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tional Lead Poisoning Prevention Week 2015</dc:title>
  <dc:subject>National Lead Poisoning Prevention Week 2015</dc:subject>
  <dc:creator>US EPA</dc:creator>
  <cp:keywords>lead, lead poisoning, Lead Poisoning Prevention Week, leadfree kids, GAELP </cp:keywords>
  <dc:description>Final Large English Poster, 2015</dc:description>
  <cp:lastModifiedBy>Pivetz, Timothy</cp:lastModifiedBy>
  <cp:revision>6</cp:revision>
  <dcterms:created xsi:type="dcterms:W3CDTF">2015-06-18T12:24:06Z</dcterms:created>
  <dcterms:modified xsi:type="dcterms:W3CDTF">2015-07-06T14:20:32Z</dcterms:modified>
</cp:coreProperties>
</file>